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22"/>
  </p:notesMasterIdLst>
  <p:handoutMasterIdLst>
    <p:handoutMasterId r:id="rId23"/>
  </p:handoutMasterIdLst>
  <p:sldIdLst>
    <p:sldId id="423" r:id="rId5"/>
    <p:sldId id="444" r:id="rId6"/>
    <p:sldId id="372" r:id="rId7"/>
    <p:sldId id="373" r:id="rId8"/>
    <p:sldId id="378" r:id="rId9"/>
    <p:sldId id="374" r:id="rId10"/>
    <p:sldId id="442" r:id="rId11"/>
    <p:sldId id="443" r:id="rId12"/>
    <p:sldId id="375" r:id="rId13"/>
    <p:sldId id="376" r:id="rId14"/>
    <p:sldId id="377" r:id="rId15"/>
    <p:sldId id="437" r:id="rId16"/>
    <p:sldId id="438" r:id="rId17"/>
    <p:sldId id="439" r:id="rId18"/>
    <p:sldId id="440" r:id="rId19"/>
    <p:sldId id="436" r:id="rId20"/>
    <p:sldId id="441" r:id="rId21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620" y="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139E82-0E96-4E4B-B743-836EECE73DCA}" type="doc">
      <dgm:prSet loTypeId="urn:microsoft.com/office/officeart/2005/8/layout/list1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3493180C-C257-4A32-9443-9B257A9A51E8}">
      <dgm:prSet phldrT="[Text]"/>
      <dgm:spPr/>
      <dgm:t>
        <a:bodyPr/>
        <a:lstStyle/>
        <a:p>
          <a:r>
            <a:rPr lang="en-US" dirty="0" smtClean="0"/>
            <a:t>Routes</a:t>
          </a:r>
          <a:endParaRPr lang="en-US" dirty="0"/>
        </a:p>
      </dgm:t>
    </dgm:pt>
    <dgm:pt modelId="{E81FFBD2-51A1-4391-8AD6-1B7C71A47765}" type="parTrans" cxnId="{8E2CB026-4F1A-4438-9B39-6DB81168BB94}">
      <dgm:prSet/>
      <dgm:spPr/>
      <dgm:t>
        <a:bodyPr/>
        <a:lstStyle/>
        <a:p>
          <a:endParaRPr lang="en-US"/>
        </a:p>
      </dgm:t>
    </dgm:pt>
    <dgm:pt modelId="{C46921B0-7894-4F0B-A01C-095981137C2F}" type="sibTrans" cxnId="{8E2CB026-4F1A-4438-9B39-6DB81168BB94}">
      <dgm:prSet/>
      <dgm:spPr/>
      <dgm:t>
        <a:bodyPr/>
        <a:lstStyle/>
        <a:p>
          <a:endParaRPr lang="en-US"/>
        </a:p>
      </dgm:t>
    </dgm:pt>
    <dgm:pt modelId="{4E63D4FE-7AAE-48BB-A0ED-710D59525F45}">
      <dgm:prSet phldrT="[Text]"/>
      <dgm:spPr/>
      <dgm:t>
        <a:bodyPr/>
        <a:lstStyle/>
        <a:p>
          <a:r>
            <a:rPr lang="en-US" dirty="0" err="1" smtClean="0"/>
            <a:t>RouterOutlet</a:t>
          </a:r>
          <a:endParaRPr lang="en-US" dirty="0"/>
        </a:p>
      </dgm:t>
    </dgm:pt>
    <dgm:pt modelId="{9D73CAD4-791C-48BF-B5BB-846D48651313}" type="parTrans" cxnId="{190DC10D-C7CF-4C43-A156-FA21CC9972DC}">
      <dgm:prSet/>
      <dgm:spPr/>
      <dgm:t>
        <a:bodyPr/>
        <a:lstStyle/>
        <a:p>
          <a:endParaRPr lang="en-US"/>
        </a:p>
      </dgm:t>
    </dgm:pt>
    <dgm:pt modelId="{F2AC56E0-D51E-4422-8427-B7E3C90F9D4F}" type="sibTrans" cxnId="{190DC10D-C7CF-4C43-A156-FA21CC9972DC}">
      <dgm:prSet/>
      <dgm:spPr/>
      <dgm:t>
        <a:bodyPr/>
        <a:lstStyle/>
        <a:p>
          <a:endParaRPr lang="en-US"/>
        </a:p>
      </dgm:t>
    </dgm:pt>
    <dgm:pt modelId="{C5FDCAE3-F073-4BEC-97E5-C1B00F6CB50C}">
      <dgm:prSet phldrT="[Text]"/>
      <dgm:spPr/>
      <dgm:t>
        <a:bodyPr/>
        <a:lstStyle/>
        <a:p>
          <a:r>
            <a:rPr lang="en-US" dirty="0" err="1" smtClean="0"/>
            <a:t>RouterLink</a:t>
          </a:r>
          <a:endParaRPr lang="en-US" dirty="0"/>
        </a:p>
      </dgm:t>
    </dgm:pt>
    <dgm:pt modelId="{179052F4-1FA2-484C-A436-1F5B4CFCF093}" type="parTrans" cxnId="{8C6189C2-F1DA-4B5B-8D11-08E23E931CCD}">
      <dgm:prSet/>
      <dgm:spPr/>
      <dgm:t>
        <a:bodyPr/>
        <a:lstStyle/>
        <a:p>
          <a:endParaRPr lang="en-US"/>
        </a:p>
      </dgm:t>
    </dgm:pt>
    <dgm:pt modelId="{3FE22699-9401-4093-89F8-B1D6724FCBD0}" type="sibTrans" cxnId="{8C6189C2-F1DA-4B5B-8D11-08E23E931CCD}">
      <dgm:prSet/>
      <dgm:spPr/>
      <dgm:t>
        <a:bodyPr/>
        <a:lstStyle/>
        <a:p>
          <a:endParaRPr lang="en-US"/>
        </a:p>
      </dgm:t>
    </dgm:pt>
    <dgm:pt modelId="{A3D06D15-990C-462C-B4C0-C2368A054006}">
      <dgm:prSet phldrT="[Text]"/>
      <dgm:spPr/>
      <dgm:t>
        <a:bodyPr/>
        <a:lstStyle/>
        <a:p>
          <a:r>
            <a:rPr lang="en-US" dirty="0" smtClean="0"/>
            <a:t>Describes the routes application supports</a:t>
          </a:r>
          <a:endParaRPr lang="en-US" dirty="0"/>
        </a:p>
      </dgm:t>
    </dgm:pt>
    <dgm:pt modelId="{24CCFC74-8520-484E-9D9B-1344CA103932}" type="parTrans" cxnId="{4D0CB3D3-E333-4400-851D-A6487384239A}">
      <dgm:prSet/>
      <dgm:spPr/>
      <dgm:t>
        <a:bodyPr/>
        <a:lstStyle/>
        <a:p>
          <a:endParaRPr lang="en-US"/>
        </a:p>
      </dgm:t>
    </dgm:pt>
    <dgm:pt modelId="{64FC0340-C39E-4621-98E9-765FB87BEE6B}" type="sibTrans" cxnId="{4D0CB3D3-E333-4400-851D-A6487384239A}">
      <dgm:prSet/>
      <dgm:spPr/>
      <dgm:t>
        <a:bodyPr/>
        <a:lstStyle/>
        <a:p>
          <a:endParaRPr lang="en-US"/>
        </a:p>
      </dgm:t>
    </dgm:pt>
    <dgm:pt modelId="{15E82150-E1CD-4926-AC33-A124C04DF4C5}">
      <dgm:prSet phldrT="[Text]"/>
      <dgm:spPr/>
      <dgm:t>
        <a:bodyPr/>
        <a:lstStyle/>
        <a:p>
          <a:r>
            <a:rPr lang="en-US" dirty="0" smtClean="0"/>
            <a:t>A “placeholder” component that gets expanded to each route’s content</a:t>
          </a:r>
          <a:endParaRPr lang="en-US" dirty="0"/>
        </a:p>
      </dgm:t>
    </dgm:pt>
    <dgm:pt modelId="{369B4D64-3E96-438C-8B2C-C83417407982}" type="parTrans" cxnId="{F6E8FDEB-C86C-4A0A-81B0-D1BD1A105764}">
      <dgm:prSet/>
      <dgm:spPr/>
      <dgm:t>
        <a:bodyPr/>
        <a:lstStyle/>
        <a:p>
          <a:endParaRPr lang="en-US"/>
        </a:p>
      </dgm:t>
    </dgm:pt>
    <dgm:pt modelId="{9037E126-F381-4872-A3C1-138DDC9503BC}" type="sibTrans" cxnId="{F6E8FDEB-C86C-4A0A-81B0-D1BD1A105764}">
      <dgm:prSet/>
      <dgm:spPr/>
      <dgm:t>
        <a:bodyPr/>
        <a:lstStyle/>
        <a:p>
          <a:endParaRPr lang="en-US"/>
        </a:p>
      </dgm:t>
    </dgm:pt>
    <dgm:pt modelId="{564101DD-7A9F-409F-BC73-B0577E5D99C4}">
      <dgm:prSet phldrT="[Text]"/>
      <dgm:spPr/>
      <dgm:t>
        <a:bodyPr/>
        <a:lstStyle/>
        <a:p>
          <a:r>
            <a:rPr lang="en-US" dirty="0" smtClean="0"/>
            <a:t>Directive is used to link to routes</a:t>
          </a:r>
          <a:endParaRPr lang="en-US" dirty="0"/>
        </a:p>
      </dgm:t>
    </dgm:pt>
    <dgm:pt modelId="{5DD08C45-B7E7-4301-9588-AEB26756C0A6}" type="parTrans" cxnId="{A48512EC-57DC-4C46-AE25-A67DF27927E4}">
      <dgm:prSet/>
      <dgm:spPr/>
      <dgm:t>
        <a:bodyPr/>
        <a:lstStyle/>
        <a:p>
          <a:endParaRPr lang="en-US"/>
        </a:p>
      </dgm:t>
    </dgm:pt>
    <dgm:pt modelId="{0CE170BE-CFB3-4AEE-AAF5-4A53EF9DB0E7}" type="sibTrans" cxnId="{A48512EC-57DC-4C46-AE25-A67DF27927E4}">
      <dgm:prSet/>
      <dgm:spPr/>
      <dgm:t>
        <a:bodyPr/>
        <a:lstStyle/>
        <a:p>
          <a:endParaRPr lang="en-US"/>
        </a:p>
      </dgm:t>
    </dgm:pt>
    <dgm:pt modelId="{251340C3-2AC9-4308-AFBE-AC8735102FD5}" type="pres">
      <dgm:prSet presAssocID="{AB139E82-0E96-4E4B-B743-836EECE73DC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B525B2B-9980-4FC9-9D10-3B997AE7D833}" type="pres">
      <dgm:prSet presAssocID="{3493180C-C257-4A32-9443-9B257A9A51E8}" presName="parentLin" presStyleCnt="0"/>
      <dgm:spPr/>
    </dgm:pt>
    <dgm:pt modelId="{635F396B-A88C-4018-B1A4-D6881F364A05}" type="pres">
      <dgm:prSet presAssocID="{3493180C-C257-4A32-9443-9B257A9A51E8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05BB0DDC-0F9E-47EA-A027-2D3BD96A0DBA}" type="pres">
      <dgm:prSet presAssocID="{3493180C-C257-4A32-9443-9B257A9A51E8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66DF88-47F2-43B2-9801-DD766360524C}" type="pres">
      <dgm:prSet presAssocID="{3493180C-C257-4A32-9443-9B257A9A51E8}" presName="negativeSpace" presStyleCnt="0"/>
      <dgm:spPr/>
    </dgm:pt>
    <dgm:pt modelId="{A640872B-2376-44FE-AA69-8A0883A68682}" type="pres">
      <dgm:prSet presAssocID="{3493180C-C257-4A32-9443-9B257A9A51E8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7082D9-A2FA-4EEB-A9F7-52C8B34ED794}" type="pres">
      <dgm:prSet presAssocID="{C46921B0-7894-4F0B-A01C-095981137C2F}" presName="spaceBetweenRectangles" presStyleCnt="0"/>
      <dgm:spPr/>
    </dgm:pt>
    <dgm:pt modelId="{96826B2D-9E5C-4E06-9E30-988DB57ED335}" type="pres">
      <dgm:prSet presAssocID="{4E63D4FE-7AAE-48BB-A0ED-710D59525F45}" presName="parentLin" presStyleCnt="0"/>
      <dgm:spPr/>
    </dgm:pt>
    <dgm:pt modelId="{3CA67AEB-F96E-4E48-95A9-E5CCC2CD525C}" type="pres">
      <dgm:prSet presAssocID="{4E63D4FE-7AAE-48BB-A0ED-710D59525F45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FFCF5D1E-4D99-4E79-9506-B6ECF47AE092}" type="pres">
      <dgm:prSet presAssocID="{4E63D4FE-7AAE-48BB-A0ED-710D59525F4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B157FF-55F3-4D94-981C-9EFA091EE6EA}" type="pres">
      <dgm:prSet presAssocID="{4E63D4FE-7AAE-48BB-A0ED-710D59525F45}" presName="negativeSpace" presStyleCnt="0"/>
      <dgm:spPr/>
    </dgm:pt>
    <dgm:pt modelId="{1FF94A68-B47A-443E-B4B7-61071BC5DBB5}" type="pres">
      <dgm:prSet presAssocID="{4E63D4FE-7AAE-48BB-A0ED-710D59525F45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FE3FF6-171E-4DAD-AE8D-3520D4CAD18D}" type="pres">
      <dgm:prSet presAssocID="{F2AC56E0-D51E-4422-8427-B7E3C90F9D4F}" presName="spaceBetweenRectangles" presStyleCnt="0"/>
      <dgm:spPr/>
    </dgm:pt>
    <dgm:pt modelId="{EE40574C-3FE3-4267-8899-94F19F16634C}" type="pres">
      <dgm:prSet presAssocID="{C5FDCAE3-F073-4BEC-97E5-C1B00F6CB50C}" presName="parentLin" presStyleCnt="0"/>
      <dgm:spPr/>
    </dgm:pt>
    <dgm:pt modelId="{F4E4020F-197F-4470-85FB-E1FBE92F18BF}" type="pres">
      <dgm:prSet presAssocID="{C5FDCAE3-F073-4BEC-97E5-C1B00F6CB50C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700B3221-BEBF-4637-A0BF-60E282B54BE5}" type="pres">
      <dgm:prSet presAssocID="{C5FDCAE3-F073-4BEC-97E5-C1B00F6CB50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F394DF-EC52-425F-A75C-72D63B47266E}" type="pres">
      <dgm:prSet presAssocID="{C5FDCAE3-F073-4BEC-97E5-C1B00F6CB50C}" presName="negativeSpace" presStyleCnt="0"/>
      <dgm:spPr/>
    </dgm:pt>
    <dgm:pt modelId="{F6601127-57FB-4DD0-98B2-4C93211F2DB4}" type="pres">
      <dgm:prSet presAssocID="{C5FDCAE3-F073-4BEC-97E5-C1B00F6CB50C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973174B-E7A1-4F4F-9850-6B6B65675545}" type="presOf" srcId="{AB139E82-0E96-4E4B-B743-836EECE73DCA}" destId="{251340C3-2AC9-4308-AFBE-AC8735102FD5}" srcOrd="0" destOrd="0" presId="urn:microsoft.com/office/officeart/2005/8/layout/list1"/>
    <dgm:cxn modelId="{8C6189C2-F1DA-4B5B-8D11-08E23E931CCD}" srcId="{AB139E82-0E96-4E4B-B743-836EECE73DCA}" destId="{C5FDCAE3-F073-4BEC-97E5-C1B00F6CB50C}" srcOrd="2" destOrd="0" parTransId="{179052F4-1FA2-484C-A436-1F5B4CFCF093}" sibTransId="{3FE22699-9401-4093-89F8-B1D6724FCBD0}"/>
    <dgm:cxn modelId="{86040C37-58FD-4EFF-AA6C-5D6940A825A4}" type="presOf" srcId="{564101DD-7A9F-409F-BC73-B0577E5D99C4}" destId="{F6601127-57FB-4DD0-98B2-4C93211F2DB4}" srcOrd="0" destOrd="0" presId="urn:microsoft.com/office/officeart/2005/8/layout/list1"/>
    <dgm:cxn modelId="{0ACAB927-B9CD-45B7-BA12-750A67515384}" type="presOf" srcId="{C5FDCAE3-F073-4BEC-97E5-C1B00F6CB50C}" destId="{700B3221-BEBF-4637-A0BF-60E282B54BE5}" srcOrd="1" destOrd="0" presId="urn:microsoft.com/office/officeart/2005/8/layout/list1"/>
    <dgm:cxn modelId="{8E2CB026-4F1A-4438-9B39-6DB81168BB94}" srcId="{AB139E82-0E96-4E4B-B743-836EECE73DCA}" destId="{3493180C-C257-4A32-9443-9B257A9A51E8}" srcOrd="0" destOrd="0" parTransId="{E81FFBD2-51A1-4391-8AD6-1B7C71A47765}" sibTransId="{C46921B0-7894-4F0B-A01C-095981137C2F}"/>
    <dgm:cxn modelId="{4D0CB3D3-E333-4400-851D-A6487384239A}" srcId="{3493180C-C257-4A32-9443-9B257A9A51E8}" destId="{A3D06D15-990C-462C-B4C0-C2368A054006}" srcOrd="0" destOrd="0" parTransId="{24CCFC74-8520-484E-9D9B-1344CA103932}" sibTransId="{64FC0340-C39E-4621-98E9-765FB87BEE6B}"/>
    <dgm:cxn modelId="{F6E8FDEB-C86C-4A0A-81B0-D1BD1A105764}" srcId="{4E63D4FE-7AAE-48BB-A0ED-710D59525F45}" destId="{15E82150-E1CD-4926-AC33-A124C04DF4C5}" srcOrd="0" destOrd="0" parTransId="{369B4D64-3E96-438C-8B2C-C83417407982}" sibTransId="{9037E126-F381-4872-A3C1-138DDC9503BC}"/>
    <dgm:cxn modelId="{A48512EC-57DC-4C46-AE25-A67DF27927E4}" srcId="{C5FDCAE3-F073-4BEC-97E5-C1B00F6CB50C}" destId="{564101DD-7A9F-409F-BC73-B0577E5D99C4}" srcOrd="0" destOrd="0" parTransId="{5DD08C45-B7E7-4301-9588-AEB26756C0A6}" sibTransId="{0CE170BE-CFB3-4AEE-AAF5-4A53EF9DB0E7}"/>
    <dgm:cxn modelId="{D56DBF7E-67BE-4560-B369-437DE8EC9A07}" type="presOf" srcId="{4E63D4FE-7AAE-48BB-A0ED-710D59525F45}" destId="{3CA67AEB-F96E-4E48-95A9-E5CCC2CD525C}" srcOrd="0" destOrd="0" presId="urn:microsoft.com/office/officeart/2005/8/layout/list1"/>
    <dgm:cxn modelId="{40A45B13-B738-4EC0-A6AE-4FC07910D854}" type="presOf" srcId="{3493180C-C257-4A32-9443-9B257A9A51E8}" destId="{05BB0DDC-0F9E-47EA-A027-2D3BD96A0DBA}" srcOrd="1" destOrd="0" presId="urn:microsoft.com/office/officeart/2005/8/layout/list1"/>
    <dgm:cxn modelId="{A5A8EF77-9E80-4F0C-A844-996A55376FA3}" type="presOf" srcId="{3493180C-C257-4A32-9443-9B257A9A51E8}" destId="{635F396B-A88C-4018-B1A4-D6881F364A05}" srcOrd="0" destOrd="0" presId="urn:microsoft.com/office/officeart/2005/8/layout/list1"/>
    <dgm:cxn modelId="{E42D0D19-AE93-463E-8EF7-EF64160E4DD4}" type="presOf" srcId="{C5FDCAE3-F073-4BEC-97E5-C1B00F6CB50C}" destId="{F4E4020F-197F-4470-85FB-E1FBE92F18BF}" srcOrd="0" destOrd="0" presId="urn:microsoft.com/office/officeart/2005/8/layout/list1"/>
    <dgm:cxn modelId="{A346C1C6-1C6F-4884-917C-091A9E177C04}" type="presOf" srcId="{A3D06D15-990C-462C-B4C0-C2368A054006}" destId="{A640872B-2376-44FE-AA69-8A0883A68682}" srcOrd="0" destOrd="0" presId="urn:microsoft.com/office/officeart/2005/8/layout/list1"/>
    <dgm:cxn modelId="{A748D505-F733-4D1C-9C91-3C327023A4D3}" type="presOf" srcId="{4E63D4FE-7AAE-48BB-A0ED-710D59525F45}" destId="{FFCF5D1E-4D99-4E79-9506-B6ECF47AE092}" srcOrd="1" destOrd="0" presId="urn:microsoft.com/office/officeart/2005/8/layout/list1"/>
    <dgm:cxn modelId="{190DC10D-C7CF-4C43-A156-FA21CC9972DC}" srcId="{AB139E82-0E96-4E4B-B743-836EECE73DCA}" destId="{4E63D4FE-7AAE-48BB-A0ED-710D59525F45}" srcOrd="1" destOrd="0" parTransId="{9D73CAD4-791C-48BF-B5BB-846D48651313}" sibTransId="{F2AC56E0-D51E-4422-8427-B7E3C90F9D4F}"/>
    <dgm:cxn modelId="{B45F9A4B-AC1B-47B5-ABC5-9300AC022A1C}" type="presOf" srcId="{15E82150-E1CD-4926-AC33-A124C04DF4C5}" destId="{1FF94A68-B47A-443E-B4B7-61071BC5DBB5}" srcOrd="0" destOrd="0" presId="urn:microsoft.com/office/officeart/2005/8/layout/list1"/>
    <dgm:cxn modelId="{9170D42B-92CA-4CB6-B887-11F8B37EBBA8}" type="presParOf" srcId="{251340C3-2AC9-4308-AFBE-AC8735102FD5}" destId="{6B525B2B-9980-4FC9-9D10-3B997AE7D833}" srcOrd="0" destOrd="0" presId="urn:microsoft.com/office/officeart/2005/8/layout/list1"/>
    <dgm:cxn modelId="{E88B75DD-6180-4C99-B26B-B5C278AD618F}" type="presParOf" srcId="{6B525B2B-9980-4FC9-9D10-3B997AE7D833}" destId="{635F396B-A88C-4018-B1A4-D6881F364A05}" srcOrd="0" destOrd="0" presId="urn:microsoft.com/office/officeart/2005/8/layout/list1"/>
    <dgm:cxn modelId="{FC9E31B3-7111-4302-AC3B-A2BBA564E904}" type="presParOf" srcId="{6B525B2B-9980-4FC9-9D10-3B997AE7D833}" destId="{05BB0DDC-0F9E-47EA-A027-2D3BD96A0DBA}" srcOrd="1" destOrd="0" presId="urn:microsoft.com/office/officeart/2005/8/layout/list1"/>
    <dgm:cxn modelId="{201FFB5E-ABFB-4CE8-9E0E-796E50EC401B}" type="presParOf" srcId="{251340C3-2AC9-4308-AFBE-AC8735102FD5}" destId="{4066DF88-47F2-43B2-9801-DD766360524C}" srcOrd="1" destOrd="0" presId="urn:microsoft.com/office/officeart/2005/8/layout/list1"/>
    <dgm:cxn modelId="{64EB2CAE-0C28-4588-9DA0-B23DCE073D21}" type="presParOf" srcId="{251340C3-2AC9-4308-AFBE-AC8735102FD5}" destId="{A640872B-2376-44FE-AA69-8A0883A68682}" srcOrd="2" destOrd="0" presId="urn:microsoft.com/office/officeart/2005/8/layout/list1"/>
    <dgm:cxn modelId="{9D2AB6EA-2D37-40D3-BB72-AA413B5BEBC1}" type="presParOf" srcId="{251340C3-2AC9-4308-AFBE-AC8735102FD5}" destId="{657082D9-A2FA-4EEB-A9F7-52C8B34ED794}" srcOrd="3" destOrd="0" presId="urn:microsoft.com/office/officeart/2005/8/layout/list1"/>
    <dgm:cxn modelId="{9E2E3A72-1F44-4403-BCA5-622D4543B839}" type="presParOf" srcId="{251340C3-2AC9-4308-AFBE-AC8735102FD5}" destId="{96826B2D-9E5C-4E06-9E30-988DB57ED335}" srcOrd="4" destOrd="0" presId="urn:microsoft.com/office/officeart/2005/8/layout/list1"/>
    <dgm:cxn modelId="{FC3D2BCD-5AAD-4BCB-AFFB-A27C208FF6C3}" type="presParOf" srcId="{96826B2D-9E5C-4E06-9E30-988DB57ED335}" destId="{3CA67AEB-F96E-4E48-95A9-E5CCC2CD525C}" srcOrd="0" destOrd="0" presId="urn:microsoft.com/office/officeart/2005/8/layout/list1"/>
    <dgm:cxn modelId="{A8473B05-54D7-423D-AD1F-A20259598FCE}" type="presParOf" srcId="{96826B2D-9E5C-4E06-9E30-988DB57ED335}" destId="{FFCF5D1E-4D99-4E79-9506-B6ECF47AE092}" srcOrd="1" destOrd="0" presId="urn:microsoft.com/office/officeart/2005/8/layout/list1"/>
    <dgm:cxn modelId="{3B642851-7AA0-4B24-9AC2-7A197BFD67FD}" type="presParOf" srcId="{251340C3-2AC9-4308-AFBE-AC8735102FD5}" destId="{35B157FF-55F3-4D94-981C-9EFA091EE6EA}" srcOrd="5" destOrd="0" presId="urn:microsoft.com/office/officeart/2005/8/layout/list1"/>
    <dgm:cxn modelId="{F3428B6B-B7BF-40A5-AB1F-FDFC0A937A87}" type="presParOf" srcId="{251340C3-2AC9-4308-AFBE-AC8735102FD5}" destId="{1FF94A68-B47A-443E-B4B7-61071BC5DBB5}" srcOrd="6" destOrd="0" presId="urn:microsoft.com/office/officeart/2005/8/layout/list1"/>
    <dgm:cxn modelId="{9CC37370-368B-4420-BF47-23A2AB4E8966}" type="presParOf" srcId="{251340C3-2AC9-4308-AFBE-AC8735102FD5}" destId="{A6FE3FF6-171E-4DAD-AE8D-3520D4CAD18D}" srcOrd="7" destOrd="0" presId="urn:microsoft.com/office/officeart/2005/8/layout/list1"/>
    <dgm:cxn modelId="{F1CB97A0-3261-499C-8EE6-0A82389CF01C}" type="presParOf" srcId="{251340C3-2AC9-4308-AFBE-AC8735102FD5}" destId="{EE40574C-3FE3-4267-8899-94F19F16634C}" srcOrd="8" destOrd="0" presId="urn:microsoft.com/office/officeart/2005/8/layout/list1"/>
    <dgm:cxn modelId="{3CA974B2-CB8F-4C2E-A9DC-26AB7087ED20}" type="presParOf" srcId="{EE40574C-3FE3-4267-8899-94F19F16634C}" destId="{F4E4020F-197F-4470-85FB-E1FBE92F18BF}" srcOrd="0" destOrd="0" presId="urn:microsoft.com/office/officeart/2005/8/layout/list1"/>
    <dgm:cxn modelId="{3BEF9ED6-27A8-48C5-A2AD-F0133B0BA93F}" type="presParOf" srcId="{EE40574C-3FE3-4267-8899-94F19F16634C}" destId="{700B3221-BEBF-4637-A0BF-60E282B54BE5}" srcOrd="1" destOrd="0" presId="urn:microsoft.com/office/officeart/2005/8/layout/list1"/>
    <dgm:cxn modelId="{962D0A80-4303-4F41-A148-1D693C3FD17D}" type="presParOf" srcId="{251340C3-2AC9-4308-AFBE-AC8735102FD5}" destId="{A5F394DF-EC52-425F-A75C-72D63B47266E}" srcOrd="9" destOrd="0" presId="urn:microsoft.com/office/officeart/2005/8/layout/list1"/>
    <dgm:cxn modelId="{A7C92D1C-7959-4E38-A66A-E6EBDD649154}" type="presParOf" srcId="{251340C3-2AC9-4308-AFBE-AC8735102FD5}" destId="{F6601127-57FB-4DD0-98B2-4C93211F2DB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3/1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1527111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7440660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049087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8535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 smtClean="0"/>
              <a:t>HTML5 client-side routing</a:t>
            </a:r>
          </a:p>
          <a:p>
            <a:pPr algn="just"/>
            <a:endParaRPr lang="en-US" b="1" dirty="0" smtClean="0"/>
          </a:p>
          <a:p>
            <a:pPr algn="just"/>
            <a:r>
              <a:rPr lang="en-US" dirty="0" smtClean="0"/>
              <a:t>With the introduction of HTML5, browsers acquired the ability to programmatically create new browser history entries that change the displayed URL without the need for a new request. This is achieved using the </a:t>
            </a:r>
            <a:r>
              <a:rPr lang="en-US" dirty="0" err="1" smtClean="0"/>
              <a:t>history.pushState</a:t>
            </a:r>
            <a:r>
              <a:rPr lang="en-US" dirty="0" smtClean="0"/>
              <a:t> method that exposes the browser’s navigational history to JavaScript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So now, instead of relying on the anchor hack to navigate routes, modern frameworks can rely on </a:t>
            </a:r>
            <a:r>
              <a:rPr lang="en-US" dirty="0" err="1" smtClean="0"/>
              <a:t>pushState</a:t>
            </a:r>
            <a:r>
              <a:rPr lang="en-US" dirty="0" smtClean="0"/>
              <a:t> to perform history manipulation without reloads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This way of routing already works in Angular 1, but it needs to be explicitly enabled using $locationProvider.html5Mode(true)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In Angular 2, the HTML5 is the default mode. 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806744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513887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Notice that </a:t>
            </a:r>
            <a:r>
              <a:rPr lang="en-US" dirty="0" err="1"/>
              <a:t>route.params</a:t>
            </a:r>
            <a:r>
              <a:rPr lang="en-US" dirty="0"/>
              <a:t> is an observable. We can extract the value of the </a:t>
            </a:r>
            <a:r>
              <a:rPr lang="en-US" dirty="0" err="1"/>
              <a:t>param</a:t>
            </a:r>
            <a:r>
              <a:rPr lang="en-US" dirty="0"/>
              <a:t> into a hard </a:t>
            </a:r>
            <a:r>
              <a:rPr lang="en-US" dirty="0" smtClean="0"/>
              <a:t>value by </a:t>
            </a:r>
            <a:r>
              <a:rPr lang="en-US" dirty="0"/>
              <a:t>using .subscribe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86927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262062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160011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8713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r>
              <a:rPr lang="en-US" dirty="0"/>
              <a:t>The browser is a familiar model of application navigation:</a:t>
            </a:r>
          </a:p>
          <a:p>
            <a:r>
              <a:rPr lang="en-US" dirty="0"/>
              <a:t>Enter a URL in the address bar and the browser navigates to a corresponding page.</a:t>
            </a:r>
          </a:p>
          <a:p>
            <a:r>
              <a:rPr lang="en-US" dirty="0"/>
              <a:t>Click links on the page and the browser navigates to a new page.</a:t>
            </a:r>
          </a:p>
          <a:p>
            <a:r>
              <a:rPr lang="en-US" dirty="0"/>
              <a:t>Click the browser's back and forward buttons and the browser navigates backward and forward through the history of pages you've seen.</a:t>
            </a:r>
          </a:p>
          <a:p>
            <a:pPr algn="just"/>
            <a:r>
              <a:rPr lang="en-US" dirty="0"/>
              <a:t>The Angular Router ("the router") borrows from this model. It can interpret a browser URL as an instruction to navigate to a client-generated view. It can pass optional parameters along to the supporting view component that help it decide what specific content to present. </a:t>
            </a:r>
            <a:endParaRPr lang="en-US" dirty="0" smtClean="0"/>
          </a:p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533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</a:t>
            </a:r>
            <a:r>
              <a:rPr lang="en-US" dirty="0" smtClean="0"/>
              <a:t>';</a:t>
            </a:r>
          </a:p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902882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</a:t>
            </a:r>
            <a:r>
              <a:rPr lang="en-US" dirty="0" smtClean="0"/>
              <a:t>.</a:t>
            </a:r>
          </a:p>
          <a:p>
            <a:r>
              <a:rPr lang="en-US" dirty="0"/>
              <a:t>The </a:t>
            </a:r>
            <a:r>
              <a:rPr lang="en-US" dirty="0" err="1"/>
              <a:t>appRoutes</a:t>
            </a:r>
            <a:r>
              <a:rPr lang="en-US" dirty="0"/>
              <a:t> array of </a:t>
            </a:r>
            <a:r>
              <a:rPr lang="en-US" i="1" dirty="0"/>
              <a:t>routes</a:t>
            </a:r>
            <a:r>
              <a:rPr lang="en-US" dirty="0"/>
              <a:t> describes how to navigate. Pass it to the </a:t>
            </a:r>
            <a:r>
              <a:rPr lang="en-US" dirty="0" err="1"/>
              <a:t>RouterModule.forRoot</a:t>
            </a:r>
            <a:r>
              <a:rPr lang="en-US" dirty="0"/>
              <a:t> method in the module imports to configure the router.</a:t>
            </a:r>
          </a:p>
          <a:p>
            <a:r>
              <a:rPr lang="en-US" dirty="0"/>
              <a:t>Each Route maps a URL path to a component. There are </a:t>
            </a:r>
            <a:r>
              <a:rPr lang="en-US" i="1" dirty="0"/>
              <a:t>no leading slashes</a:t>
            </a:r>
            <a:r>
              <a:rPr lang="en-US" dirty="0"/>
              <a:t> in the </a:t>
            </a:r>
            <a:r>
              <a:rPr lang="en-US" i="1" dirty="0"/>
              <a:t>path</a:t>
            </a:r>
            <a:r>
              <a:rPr lang="en-US" dirty="0"/>
              <a:t>. The router parses and builds the final URL for you, allowing you to use both relative and absolute paths when navigating between application views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327046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 smtClean="0"/>
              <a:t>Basic Routing Steps</a:t>
            </a:r>
          </a:p>
          <a:p>
            <a:pPr algn="just"/>
            <a:endParaRPr lang="en-US" b="1" dirty="0" smtClean="0"/>
          </a:p>
          <a:p>
            <a:pPr algn="just"/>
            <a:r>
              <a:rPr lang="en-US" b="1" dirty="0" smtClean="0"/>
              <a:t>Set &lt;base </a:t>
            </a:r>
            <a:r>
              <a:rPr lang="en-US" b="1" dirty="0" err="1" smtClean="0"/>
              <a:t>href</a:t>
            </a:r>
            <a:r>
              <a:rPr lang="en-US" b="1" dirty="0" smtClean="0"/>
              <a:t>=“/”&gt; tag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Config</a:t>
            </a:r>
            <a:r>
              <a:rPr lang="en-US" b="1" dirty="0" smtClean="0"/>
              <a:t> on the root component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Outlet</a:t>
            </a:r>
            <a:r>
              <a:rPr lang="en-US" b="1" dirty="0" smtClean="0"/>
              <a:t> Component as placeholder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Link</a:t>
            </a:r>
            <a:r>
              <a:rPr lang="en-US" b="1" dirty="0" smtClean="0"/>
              <a:t> directive for Link</a:t>
            </a:r>
          </a:p>
          <a:p>
            <a:r>
              <a:rPr lang="en-US" b="1" dirty="0"/>
              <a:t>Router outlet</a:t>
            </a:r>
          </a:p>
          <a:p>
            <a:r>
              <a:rPr lang="en-US" dirty="0"/>
              <a:t>Given this configuration, when the browser URL for this application becomes /heroes, the router matches that URL to the route path /heroes and displays the </a:t>
            </a:r>
            <a:r>
              <a:rPr lang="en-US" dirty="0" err="1"/>
              <a:t>HeroListComponent</a:t>
            </a:r>
            <a:r>
              <a:rPr lang="en-US" dirty="0"/>
              <a:t> </a:t>
            </a:r>
            <a:r>
              <a:rPr lang="en-US" i="1" dirty="0"/>
              <a:t>after</a:t>
            </a:r>
            <a:r>
              <a:rPr lang="en-US" dirty="0"/>
              <a:t> a </a:t>
            </a:r>
            <a:r>
              <a:rPr lang="en-US" dirty="0" err="1"/>
              <a:t>RouterOutlet</a:t>
            </a:r>
            <a:r>
              <a:rPr lang="en-US" dirty="0"/>
              <a:t> that you've placed in the host view's HTML.</a:t>
            </a:r>
          </a:p>
          <a:p>
            <a:r>
              <a:rPr lang="en-US" dirty="0"/>
              <a:t>COPY CODE&lt;router-outlet&gt;&lt;/router-outlet&gt; &lt;!-- Routed views go here --&gt;</a:t>
            </a:r>
          </a:p>
          <a:p>
            <a:r>
              <a:rPr lang="en-US" b="1" dirty="0"/>
              <a:t>Router links</a:t>
            </a:r>
          </a:p>
          <a:p>
            <a:r>
              <a:rPr lang="en-US" dirty="0"/>
              <a:t>Now you have routes configured and a place to render them, but how do you navigate? The URL could arrive directly from the browser address bar.</a:t>
            </a:r>
          </a:p>
          <a:p>
            <a:r>
              <a:rPr lang="en-US" dirty="0"/>
              <a:t>The </a:t>
            </a:r>
            <a:r>
              <a:rPr lang="en-US" dirty="0" err="1"/>
              <a:t>RouterLink</a:t>
            </a:r>
            <a:r>
              <a:rPr lang="en-US" dirty="0"/>
              <a:t> directives on the anchor tags give the router control over those elements. The navigation paths are fixed, so you can assign a string to the </a:t>
            </a:r>
            <a:r>
              <a:rPr lang="en-US" dirty="0" err="1"/>
              <a:t>routerLink</a:t>
            </a:r>
            <a:r>
              <a:rPr lang="en-US" dirty="0"/>
              <a:t> (a "one-time" binding).</a:t>
            </a:r>
          </a:p>
          <a:p>
            <a:r>
              <a:rPr lang="en-US" dirty="0"/>
              <a:t>Had the navigation path been more dynamic, you could have bound to a template expression that returned an array of route link parameters (the </a:t>
            </a:r>
            <a:r>
              <a:rPr lang="en-US" i="1" dirty="0"/>
              <a:t>link parameters array</a:t>
            </a:r>
            <a:r>
              <a:rPr lang="en-US" dirty="0"/>
              <a:t>). The router resolves that array into a complete URL.</a:t>
            </a:r>
          </a:p>
          <a:p>
            <a:r>
              <a:rPr lang="en-US" dirty="0"/>
              <a:t>The </a:t>
            </a:r>
            <a:r>
              <a:rPr lang="en-US" b="1" dirty="0" err="1"/>
              <a:t>RouterLinkActive</a:t>
            </a:r>
            <a:r>
              <a:rPr lang="en-US" dirty="0"/>
              <a:t> directive on each anchor tag helps visually distinguish the anchor for the currently selected "active" route. The router adds the active CSS class to the element when the associated </a:t>
            </a:r>
            <a:r>
              <a:rPr lang="en-US" i="1" dirty="0" err="1"/>
              <a:t>RouterLink</a:t>
            </a:r>
            <a:r>
              <a:rPr lang="en-US" dirty="0"/>
              <a:t> becomes active. You can add this directive to the anchor or to its parent element.</a:t>
            </a:r>
          </a:p>
          <a:p>
            <a:pPr algn="just"/>
            <a:endParaRPr lang="en-US" b="1" dirty="0" smtClean="0"/>
          </a:p>
          <a:p>
            <a:pPr algn="just"/>
            <a:endParaRPr lang="en-US" b="1" dirty="0" smtClean="0"/>
          </a:p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15989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0936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2752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88181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414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376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62713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5303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787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19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4069775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7623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5222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2216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902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26903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598602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768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Routing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Lesson10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Outle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The router-outlet element indicates where the contents of each route component will be rendered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/>
              <a:t>RouterOutlet</a:t>
            </a:r>
            <a:r>
              <a:rPr lang="en-US" dirty="0"/>
              <a:t> directive is used to describe to Angular where in our page we want to render the contents for each </a:t>
            </a:r>
            <a:r>
              <a:rPr lang="en-US" dirty="0" smtClean="0"/>
              <a:t>route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1316736" y="3915508"/>
            <a:ext cx="6087326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@Component({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selector: 'my-app',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template:`&lt;div class="container"&gt;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&lt;router-outlet&gt;&lt;/router-outlet&gt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&lt;/div&gt;`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Link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It generates link based on the route path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err="1" smtClean="0"/>
              <a:t>routerLink</a:t>
            </a:r>
            <a:r>
              <a:rPr lang="en-US" sz="2000" dirty="0" smtClean="0"/>
              <a:t> navigates to a route</a:t>
            </a:r>
            <a:endParaRPr lang="en-US" sz="2000" dirty="0"/>
          </a:p>
        </p:txBody>
      </p:sp>
      <p:sp>
        <p:nvSpPr>
          <p:cNvPr id="4" name="Rounded Rectangle 3"/>
          <p:cNvSpPr/>
          <p:nvPr/>
        </p:nvSpPr>
        <p:spPr>
          <a:xfrm>
            <a:off x="1606062" y="2825262"/>
            <a:ext cx="5334000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&lt;div&gt;                          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'Home']"&gt;Home&lt;/a&gt;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‘About']"&gt;About Us&lt;/a&gt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&lt;/div&gt;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Outlet</a:t>
            </a:r>
            <a:r>
              <a:rPr lang="en-US" dirty="0" smtClean="0"/>
              <a:t> &amp; </a:t>
            </a:r>
            <a:r>
              <a:rPr lang="en-US" dirty="0" err="1" smtClean="0"/>
              <a:t>RouterLink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2102460" y="1497315"/>
            <a:ext cx="4657866" cy="31777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509936" y="2824303"/>
            <a:ext cx="3788228" cy="1357441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00000"/>
                </a:solidFill>
              </a:rPr>
              <a:t>&lt;router-outlet&gt;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509936" y="2174219"/>
            <a:ext cx="3788227" cy="5325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'Go']"&gt;Go&lt;/a&gt;</a:t>
            </a:r>
          </a:p>
        </p:txBody>
      </p:sp>
      <p:sp>
        <p:nvSpPr>
          <p:cNvPr id="9" name="Rectangle 8"/>
          <p:cNvSpPr/>
          <p:nvPr/>
        </p:nvSpPr>
        <p:spPr>
          <a:xfrm>
            <a:off x="413477" y="5661138"/>
            <a:ext cx="836393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Code : </a:t>
            </a:r>
            <a:r>
              <a:rPr lang="en-US" altLang="en-US" sz="2200" b="1" dirty="0" err="1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.navigate</a:t>
            </a:r>
            <a:r>
              <a:rPr lang="en-US" altLang="en-US" sz="2200" b="1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( </a:t>
            </a: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['Go'] </a:t>
            </a:r>
            <a:r>
              <a:rPr lang="en-US" altLang="en-US" sz="2200" b="1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);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389436" y="5079678"/>
            <a:ext cx="8614605" cy="430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HTML : &lt;a [</a:t>
            </a:r>
            <a:r>
              <a:rPr lang="en-US" altLang="en-US" sz="2200" b="1" dirty="0" err="1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Link</a:t>
            </a: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]="['Go']"&gt;Go&lt;/a&gt;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102460" y="1220316"/>
            <a:ext cx="126637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 smtClean="0">
                <a:gradFill>
                  <a:gsLst>
                    <a:gs pos="4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Component: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2294074" y="1724845"/>
            <a:ext cx="4237355" cy="2685499"/>
          </a:xfrm>
          <a:prstGeom prst="rect">
            <a:avLst/>
          </a:prstGeom>
          <a:noFill/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</a:rPr>
              <a:t>Template</a:t>
            </a:r>
            <a:endParaRPr lang="en-US" sz="22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 Strategi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he way the Angular application parses and creates paths from and to route definitions is </a:t>
            </a:r>
            <a:r>
              <a:rPr lang="en-US" sz="2000" dirty="0" smtClean="0"/>
              <a:t>now location </a:t>
            </a:r>
            <a:r>
              <a:rPr lang="en-US" sz="2000" dirty="0"/>
              <a:t>strategy.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HashLocationStrategy</a:t>
            </a:r>
            <a:r>
              <a:rPr lang="en-US" sz="2000" dirty="0" smtClean="0"/>
              <a:t> ('#/')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PathLocationStrategy</a:t>
            </a:r>
            <a:r>
              <a:rPr lang="en-US" sz="2000" dirty="0" smtClean="0"/>
              <a:t> (HTML 5 Mode Default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464038" y="3575304"/>
            <a:ext cx="8003306" cy="2483652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//import 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 and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import </a:t>
            </a:r>
            <a:r>
              <a:rPr lang="en-US" sz="1600" dirty="0">
                <a:solidFill>
                  <a:srgbClr val="000000"/>
                </a:solidFill>
              </a:rPr>
              <a:t>{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r>
              <a:rPr lang="en-US" sz="1600" dirty="0">
                <a:solidFill>
                  <a:srgbClr val="000000"/>
                </a:solidFill>
              </a:rPr>
              <a:t>} from '@angular/common</a:t>
            </a:r>
            <a:r>
              <a:rPr lang="en-US" sz="1600" dirty="0" smtClean="0">
                <a:solidFill>
                  <a:srgbClr val="000000"/>
                </a:solidFill>
              </a:rPr>
              <a:t>';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//add that location strategy to the providers </a:t>
            </a:r>
            <a:r>
              <a:rPr lang="en-US" sz="1600" dirty="0" smtClean="0">
                <a:solidFill>
                  <a:srgbClr val="000000"/>
                </a:solidFill>
              </a:rPr>
              <a:t>of </a:t>
            </a:r>
            <a:r>
              <a:rPr lang="en-US" sz="1600" dirty="0" err="1" smtClean="0">
                <a:solidFill>
                  <a:srgbClr val="000000"/>
                </a:solidFill>
              </a:rPr>
              <a:t>NgModule</a:t>
            </a:r>
            <a:r>
              <a:rPr lang="en-US" sz="1600" dirty="0">
                <a:solidFill>
                  <a:srgbClr val="000000"/>
                </a:solidFill>
              </a:rPr>
              <a:t/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providers: [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{ </a:t>
            </a:r>
            <a:r>
              <a:rPr lang="en-US" sz="1600" dirty="0">
                <a:solidFill>
                  <a:srgbClr val="000000"/>
                </a:solidFill>
              </a:rPr>
              <a:t>provide: 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useClass</a:t>
            </a:r>
            <a:r>
              <a:rPr lang="en-US" sz="1600" dirty="0">
                <a:solidFill>
                  <a:srgbClr val="000000"/>
                </a:solidFill>
              </a:rPr>
              <a:t>: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r>
              <a:rPr lang="en-US" sz="1600" dirty="0">
                <a:solidFill>
                  <a:srgbClr val="000000"/>
                </a:solidFill>
              </a:rPr>
              <a:t>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e Parameter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Route </a:t>
            </a:r>
            <a:r>
              <a:rPr lang="en-US" sz="2000" dirty="0" err="1" smtClean="0"/>
              <a:t>Parametes</a:t>
            </a:r>
            <a:r>
              <a:rPr lang="en-US" sz="2000" dirty="0" smtClean="0"/>
              <a:t> helps to navigate to a specific resource. For instance product with id 3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/products/3</a:t>
            </a:r>
          </a:p>
          <a:p>
            <a:r>
              <a:rPr lang="en-US" sz="2000" dirty="0" smtClean="0"/>
              <a:t>route takes a parameter by putting a colon : in front of the path segment</a:t>
            </a:r>
          </a:p>
          <a:p>
            <a:pPr lvl="1"/>
            <a:r>
              <a:rPr lang="en-US" sz="1600" dirty="0" smtClean="0"/>
              <a:t>/route/:</a:t>
            </a:r>
            <a:r>
              <a:rPr lang="en-US" sz="1600" dirty="0" err="1" smtClean="0"/>
              <a:t>param</a:t>
            </a:r>
            <a:endParaRPr lang="en-US" sz="1600" dirty="0" smtClean="0"/>
          </a:p>
          <a:p>
            <a:r>
              <a:rPr lang="en-US" sz="2000" dirty="0" smtClean="0"/>
              <a:t>To add a parameter to router configuration and to access the value refer the code given below</a:t>
            </a:r>
          </a:p>
          <a:p>
            <a:endParaRPr lang="en-US" sz="20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691661" y="4232029"/>
            <a:ext cx="7655169" cy="2028093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err="1">
                <a:solidFill>
                  <a:srgbClr val="000000"/>
                </a:solidFill>
              </a:rPr>
              <a:t>const</a:t>
            </a:r>
            <a:r>
              <a:rPr lang="en-US" sz="1600" dirty="0">
                <a:solidFill>
                  <a:srgbClr val="000000"/>
                </a:solidFill>
              </a:rPr>
              <a:t> routes: Routes =([    </a:t>
            </a:r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 { path:'/products/:id', </a:t>
            </a:r>
            <a:r>
              <a:rPr lang="en-US" sz="1600" dirty="0" err="1" smtClean="0">
                <a:solidFill>
                  <a:srgbClr val="000000"/>
                </a:solidFill>
              </a:rPr>
              <a:t>name:‘Product</a:t>
            </a:r>
            <a:r>
              <a:rPr lang="en-US" sz="1600" dirty="0" smtClean="0">
                <a:solidFill>
                  <a:srgbClr val="000000"/>
                </a:solidFill>
              </a:rPr>
              <a:t>', </a:t>
            </a:r>
            <a:r>
              <a:rPr lang="en-US" sz="1600" dirty="0" err="1" smtClean="0">
                <a:solidFill>
                  <a:srgbClr val="000000"/>
                </a:solidFill>
              </a:rPr>
              <a:t>component:ProductComponent</a:t>
            </a:r>
            <a:r>
              <a:rPr lang="en-US" sz="1600" dirty="0" smtClean="0">
                <a:solidFill>
                  <a:srgbClr val="000000"/>
                </a:solidFill>
              </a:rPr>
              <a:t>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)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/*To access the parameter value */</a:t>
            </a:r>
          </a:p>
          <a:p>
            <a:pPr lvl="1"/>
            <a:r>
              <a:rPr lang="en-US" sz="1600" dirty="0" err="1" smtClean="0">
                <a:solidFill>
                  <a:srgbClr val="000000"/>
                </a:solidFill>
              </a:rPr>
              <a:t>routeParams.get</a:t>
            </a:r>
            <a:r>
              <a:rPr lang="en-US" sz="1600" dirty="0" smtClean="0">
                <a:solidFill>
                  <a:srgbClr val="000000"/>
                </a:solidFill>
              </a:rPr>
              <a:t>('id')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ActivatedRou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In order to </a:t>
            </a:r>
            <a:r>
              <a:rPr lang="en-US" sz="2000" dirty="0" smtClean="0"/>
              <a:t>access </a:t>
            </a:r>
            <a:r>
              <a:rPr lang="en-US" sz="2000" dirty="0"/>
              <a:t>route </a:t>
            </a:r>
            <a:r>
              <a:rPr lang="en-US" sz="2000" dirty="0" smtClean="0"/>
              <a:t>parameter value in Components, </a:t>
            </a:r>
            <a:r>
              <a:rPr lang="en-US" sz="2000" dirty="0"/>
              <a:t>we need to </a:t>
            </a:r>
            <a:r>
              <a:rPr lang="en-US" sz="2000" dirty="0" smtClean="0"/>
              <a:t>import </a:t>
            </a:r>
            <a:r>
              <a:rPr lang="en-US" sz="2000" dirty="0" err="1"/>
              <a:t>ActivatedRoute</a:t>
            </a:r>
            <a:endParaRPr lang="en-US" sz="20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inject </a:t>
            </a:r>
            <a:r>
              <a:rPr lang="en-US" sz="2000" dirty="0"/>
              <a:t>the </a:t>
            </a:r>
            <a:r>
              <a:rPr lang="en-US" sz="2000" dirty="0" err="1"/>
              <a:t>ActivatedRoute</a:t>
            </a:r>
            <a:r>
              <a:rPr lang="en-US" sz="2000" dirty="0"/>
              <a:t> into the constructor of our component</a:t>
            </a:r>
            <a:endParaRPr lang="en-US" sz="2000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1554011" y="2339498"/>
            <a:ext cx="5221693" cy="830934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import { </a:t>
            </a:r>
            <a:r>
              <a:rPr lang="en-US" sz="1600" dirty="0" err="1">
                <a:solidFill>
                  <a:srgbClr val="000000"/>
                </a:solidFill>
              </a:rPr>
              <a:t>ActivatedRoute</a:t>
            </a:r>
            <a:r>
              <a:rPr lang="en-US" sz="1600" dirty="0">
                <a:solidFill>
                  <a:srgbClr val="000000"/>
                </a:solidFill>
              </a:rPr>
              <a:t> } from '@</a:t>
            </a:r>
            <a:r>
              <a:rPr lang="en-US" sz="1600" dirty="0" smtClean="0">
                <a:solidFill>
                  <a:srgbClr val="000000"/>
                </a:solidFill>
              </a:rPr>
              <a:t>angular/router’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766611" y="3899328"/>
            <a:ext cx="7434071" cy="2135712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export class </a:t>
            </a:r>
            <a:r>
              <a:rPr lang="en-US" sz="1600" dirty="0" err="1" smtClean="0">
                <a:solidFill>
                  <a:srgbClr val="000000"/>
                </a:solidFill>
              </a:rPr>
              <a:t>ProductComponent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{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smtClean="0">
                <a:solidFill>
                  <a:srgbClr val="000000"/>
                </a:solidFill>
              </a:rPr>
              <a:t>  id</a:t>
            </a:r>
            <a:r>
              <a:rPr lang="en-US" sz="1600" dirty="0">
                <a:solidFill>
                  <a:srgbClr val="000000"/>
                </a:solidFill>
              </a:rPr>
              <a:t>: string;</a:t>
            </a:r>
          </a:p>
          <a:p>
            <a:pPr lvl="1"/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constructor(private </a:t>
            </a:r>
            <a:r>
              <a:rPr lang="en-US" sz="1600" dirty="0">
                <a:solidFill>
                  <a:srgbClr val="000000"/>
                </a:solidFill>
              </a:rPr>
              <a:t>route: </a:t>
            </a:r>
            <a:r>
              <a:rPr lang="en-US" sz="1600" dirty="0" err="1">
                <a:solidFill>
                  <a:srgbClr val="000000"/>
                </a:solidFill>
              </a:rPr>
              <a:t>ActivatedRoute</a:t>
            </a:r>
            <a:r>
              <a:rPr lang="en-US" sz="1600" dirty="0">
                <a:solidFill>
                  <a:srgbClr val="000000"/>
                </a:solidFill>
              </a:rPr>
              <a:t>) {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</a:t>
            </a:r>
            <a:r>
              <a:rPr lang="en-US" sz="1600" dirty="0" err="1" smtClean="0">
                <a:solidFill>
                  <a:srgbClr val="000000"/>
                </a:solidFill>
              </a:rPr>
              <a:t>route.params.subscribe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params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=&gt; { this.id = </a:t>
            </a:r>
            <a:r>
              <a:rPr lang="en-US" sz="1600" dirty="0" err="1">
                <a:solidFill>
                  <a:srgbClr val="000000"/>
                </a:solidFill>
              </a:rPr>
              <a:t>params</a:t>
            </a:r>
            <a:r>
              <a:rPr lang="en-US" sz="1600" dirty="0">
                <a:solidFill>
                  <a:srgbClr val="000000"/>
                </a:solidFill>
              </a:rPr>
              <a:t>['id']; })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}</a:t>
            </a:r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Router</a:t>
            </a:r>
            <a:endParaRPr lang="en-US" dirty="0" smtClean="0"/>
          </a:p>
          <a:p>
            <a:r>
              <a:rPr lang="en-US" dirty="0" err="1" smtClean="0"/>
              <a:t>DemoRouterPassingParameter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outing means loading sub-templates depending upon the URL of the page</a:t>
            </a:r>
            <a:r>
              <a:rPr lang="en-US" dirty="0" smtClean="0"/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o  implement Routing to Angular Application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Import </a:t>
            </a:r>
            <a:r>
              <a:rPr lang="en-US" sz="2000" dirty="0" err="1"/>
              <a:t>RouterModule</a:t>
            </a:r>
            <a:r>
              <a:rPr lang="en-US" sz="2000" dirty="0"/>
              <a:t> and Routes from ‘@angular/router’</a:t>
            </a:r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} from '@angular/router';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35121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y use routing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fining a route tabl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Navigation using hyperlink &amp; cod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Supplying parameters to a route URL</a:t>
            </a:r>
          </a:p>
          <a:p>
            <a:r>
              <a:rPr lang="en-US" dirty="0"/>
              <a:t>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67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>
            <a:normAutofit fontScale="92500" lnSpcReduction="10000"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Routing means loading sub-templates depending upon the URL of the page.</a:t>
            </a:r>
            <a:endParaRPr lang="en-US" sz="2000" dirty="0" smtClean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We can break out the view into a layout and template views and only show the view which we want to show based upon the URL the user is accessing</a:t>
            </a:r>
            <a:r>
              <a:rPr lang="en-US" sz="2000" dirty="0" smtClean="0"/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Routes </a:t>
            </a:r>
            <a:r>
              <a:rPr lang="en-US" sz="2000" dirty="0"/>
              <a:t>are a way for multiple views to be used within a single HTML page. This enables you page to look more "app-like" because users are not seeing page reloads happen within the browser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Defining routes in </a:t>
            </a:r>
            <a:r>
              <a:rPr lang="en-US" sz="2000" dirty="0" smtClean="0"/>
              <a:t>application can</a:t>
            </a:r>
            <a:r>
              <a:rPr lang="en-US" sz="2000" dirty="0"/>
              <a:t>:</a:t>
            </a:r>
          </a:p>
          <a:p>
            <a:pPr lvl="2" algn="just">
              <a:lnSpc>
                <a:spcPct val="100000"/>
              </a:lnSpc>
            </a:pPr>
            <a:r>
              <a:rPr lang="en-US" sz="1400" dirty="0" smtClean="0"/>
              <a:t>Separate </a:t>
            </a:r>
            <a:r>
              <a:rPr lang="en-US" sz="1400" dirty="0"/>
              <a:t>different areas of the </a:t>
            </a:r>
            <a:r>
              <a:rPr lang="en-US" sz="1400" dirty="0" smtClean="0"/>
              <a:t>app</a:t>
            </a:r>
            <a:endParaRPr lang="en-US" sz="1400" dirty="0"/>
          </a:p>
          <a:p>
            <a:pPr lvl="2" algn="just">
              <a:lnSpc>
                <a:spcPct val="100000"/>
              </a:lnSpc>
            </a:pPr>
            <a:r>
              <a:rPr lang="en-US" sz="1400" dirty="0" smtClean="0"/>
              <a:t>Maintain </a:t>
            </a:r>
            <a:r>
              <a:rPr lang="en-US" sz="1400" dirty="0"/>
              <a:t>the state in the </a:t>
            </a:r>
            <a:r>
              <a:rPr lang="en-US" sz="1400" dirty="0" smtClean="0"/>
              <a:t>app</a:t>
            </a:r>
            <a:endParaRPr lang="en-US" sz="1400" dirty="0"/>
          </a:p>
          <a:p>
            <a:pPr lvl="2" algn="just">
              <a:lnSpc>
                <a:spcPct val="100000"/>
              </a:lnSpc>
            </a:pPr>
            <a:r>
              <a:rPr lang="en-US" sz="1400" dirty="0" smtClean="0"/>
              <a:t>Protect </a:t>
            </a:r>
            <a:r>
              <a:rPr lang="en-US" sz="1400" dirty="0"/>
              <a:t>areas of the app based on certain </a:t>
            </a:r>
            <a:r>
              <a:rPr lang="en-US" sz="1400" dirty="0" smtClean="0"/>
              <a:t>rules</a:t>
            </a:r>
            <a:endParaRPr lang="en-US" sz="1400" dirty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84073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AngularJS 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AngularJS routes enable us to create different URLs for different content in our application. </a:t>
            </a:r>
            <a:endParaRPr lang="en-US" sz="2000" dirty="0" smtClean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Having </a:t>
            </a:r>
            <a:r>
              <a:rPr lang="en-US" sz="2000" dirty="0"/>
              <a:t>different URLs for different content enables the user to bookmark URLs to specific content. </a:t>
            </a:r>
            <a:endParaRPr lang="en-US" sz="2000" dirty="0" smtClean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n Angular </a:t>
            </a:r>
            <a:r>
              <a:rPr lang="en-US" sz="2000" dirty="0" smtClean="0"/>
              <a:t>2 routes are configured  </a:t>
            </a:r>
            <a:r>
              <a:rPr lang="en-US" sz="2000" dirty="0"/>
              <a:t>by mapping paths to the component that will handle them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 instance, let consider an application with 2 </a:t>
            </a:r>
            <a:r>
              <a:rPr lang="en-US" sz="2000" dirty="0"/>
              <a:t>routes: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 </a:t>
            </a:r>
            <a:r>
              <a:rPr lang="en-US" sz="1600" dirty="0"/>
              <a:t>main page route, using the /#/home path;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n </a:t>
            </a:r>
            <a:r>
              <a:rPr lang="en-US" sz="1600" dirty="0"/>
              <a:t>about page, using the /#/about path;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nd </a:t>
            </a:r>
            <a:r>
              <a:rPr lang="en-US" sz="1600" dirty="0"/>
              <a:t>when the user visits the root path (/#/), it will redirect to the home path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 Setup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3383" y="1277988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To  implement Routing to Angular Application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Import </a:t>
            </a:r>
            <a:r>
              <a:rPr lang="en-US" sz="2000" dirty="0" err="1" smtClean="0"/>
              <a:t>RouterModule</a:t>
            </a:r>
            <a:r>
              <a:rPr lang="en-US" sz="2000" dirty="0" smtClean="0"/>
              <a:t> and Routes from ‘</a:t>
            </a:r>
            <a:r>
              <a:rPr lang="en-US" sz="2000" dirty="0"/>
              <a:t>@angular/router</a:t>
            </a:r>
            <a:r>
              <a:rPr lang="en-US" sz="2000" dirty="0" smtClean="0"/>
              <a:t>’</a:t>
            </a:r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/>
              <a:t>import </a:t>
            </a:r>
            <a:r>
              <a:rPr lang="en-US" sz="1600" dirty="0" smtClean="0"/>
              <a:t>{ </a:t>
            </a:r>
            <a:r>
              <a:rPr lang="en-US" sz="1600" dirty="0" err="1"/>
              <a:t>RouterModule</a:t>
            </a:r>
            <a:r>
              <a:rPr lang="en-US" sz="1600" dirty="0" smtClean="0"/>
              <a:t>, Routes} </a:t>
            </a:r>
            <a:r>
              <a:rPr lang="en-US" sz="1600" dirty="0"/>
              <a:t>from '@angular/router</a:t>
            </a:r>
            <a:r>
              <a:rPr lang="en-US" sz="1600" dirty="0" smtClean="0"/>
              <a:t>';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Define routes for application</a:t>
            </a:r>
            <a:endParaRPr lang="en-US" sz="2000" dirty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 err="1"/>
              <a:t>const</a:t>
            </a:r>
            <a:r>
              <a:rPr lang="en-US" sz="1600" dirty="0"/>
              <a:t> routes: Routes = </a:t>
            </a:r>
            <a:r>
              <a:rPr lang="en-US" sz="1600" dirty="0" smtClean="0"/>
              <a:t>[ { </a:t>
            </a:r>
            <a:r>
              <a:rPr lang="en-US" sz="1600" dirty="0"/>
              <a:t>path: 'home', component: </a:t>
            </a:r>
            <a:r>
              <a:rPr lang="en-US" sz="1600" dirty="0" err="1"/>
              <a:t>HomeComponent</a:t>
            </a:r>
            <a:r>
              <a:rPr lang="en-US" sz="1600" dirty="0"/>
              <a:t> </a:t>
            </a:r>
            <a:r>
              <a:rPr lang="en-US" sz="1600" dirty="0" smtClean="0"/>
              <a:t>}];</a:t>
            </a:r>
          </a:p>
          <a:p>
            <a:pPr marL="342900" lvl="1" indent="-342900" algn="just">
              <a:lnSpc>
                <a:spcPct val="150000"/>
              </a:lnSpc>
              <a:buClr>
                <a:schemeClr val="accent5"/>
              </a:buClr>
            </a:pPr>
            <a:r>
              <a:rPr lang="en-US" sz="2000" dirty="0"/>
              <a:t>Install the routes using </a:t>
            </a:r>
            <a:r>
              <a:rPr lang="en-US" sz="2000" dirty="0" err="1"/>
              <a:t>RouterModule.forRoot</a:t>
            </a:r>
            <a:r>
              <a:rPr lang="en-US" sz="2000" dirty="0"/>
              <a:t>(routes) in the imports of </a:t>
            </a:r>
            <a:r>
              <a:rPr lang="en-US" sz="2000" dirty="0" err="1"/>
              <a:t>NgModule</a:t>
            </a:r>
            <a:endParaRPr lang="en-US" sz="2000" dirty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 smtClean="0"/>
              <a:t>imports: [ </a:t>
            </a:r>
            <a:r>
              <a:rPr lang="en-US" sz="1600" dirty="0" err="1" smtClean="0"/>
              <a:t>BrowserModule</a:t>
            </a:r>
            <a:r>
              <a:rPr lang="en-US" sz="1600" dirty="0" smtClean="0"/>
              <a:t>,  </a:t>
            </a:r>
            <a:r>
              <a:rPr lang="en-US" sz="1600" dirty="0" err="1"/>
              <a:t>RouterModule.forRoot</a:t>
            </a:r>
            <a:r>
              <a:rPr lang="en-US" sz="1600" dirty="0"/>
              <a:t>(routes</a:t>
            </a:r>
            <a:r>
              <a:rPr lang="en-US" sz="1600" dirty="0" smtClean="0"/>
              <a:t>)]</a:t>
            </a:r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Components of Angular 2 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here are three main components </a:t>
            </a:r>
            <a:r>
              <a:rPr lang="en-US" sz="2000" dirty="0" smtClean="0"/>
              <a:t>are used </a:t>
            </a:r>
            <a:r>
              <a:rPr lang="en-US" sz="2000" dirty="0"/>
              <a:t>to configure routing in </a:t>
            </a:r>
            <a:r>
              <a:rPr lang="en-US" sz="2000" dirty="0" smtClean="0"/>
              <a:t>Angular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358159687"/>
              </p:ext>
            </p:extLst>
          </p:nvPr>
        </p:nvGraphicFramePr>
        <p:xfrm>
          <a:off x="422031" y="1922585"/>
          <a:ext cx="8170983" cy="4230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uter 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93538607"/>
              </p:ext>
            </p:extLst>
          </p:nvPr>
        </p:nvGraphicFramePr>
        <p:xfrm>
          <a:off x="457200" y="1302861"/>
          <a:ext cx="8528050" cy="5207666"/>
        </p:xfrm>
        <a:graphic>
          <a:graphicData uri="http://schemas.openxmlformats.org/drawingml/2006/table">
            <a:tbl>
              <a:tblPr/>
              <a:tblGrid>
                <a:gridCol w="4264025"/>
                <a:gridCol w="4264025"/>
              </a:tblGrid>
              <a:tr h="472091">
                <a:tc>
                  <a:txBody>
                    <a:bodyPr/>
                    <a:lstStyle/>
                    <a:p>
                      <a:pPr algn="l" fontAlgn="t"/>
                      <a:r>
                        <a:rPr lang="en-US" b="1" dirty="0">
                          <a:effectLst/>
                        </a:rPr>
                        <a:t>Router Part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1">
                          <a:effectLst/>
                        </a:rPr>
                        <a:t>Meaning</a:t>
                      </a:r>
                    </a:p>
                  </a:txBody>
                  <a:tcPr marL="203200" marR="203200" marT="101600" marB="101600">
                    <a:lnL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947115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r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Displays the application component for the active URL. Manages navigation from one component to the next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184627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rModule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A separate Angular module that provides the necessary service providers and directives for navigating through application views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09603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s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Defines an array of Routes, each mapping a URL path to a component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184627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Defines how the router should navigate to a component based on a URL pattern. Most routes consist of a path and a component type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09603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rOutlet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 dirty="0">
                          <a:effectLst/>
                        </a:rPr>
                        <a:t>The directive (&lt;router-outlet&gt;) that marks where the router displays a view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9202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uter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8282520"/>
              </p:ext>
            </p:extLst>
          </p:nvPr>
        </p:nvGraphicFramePr>
        <p:xfrm>
          <a:off x="612648" y="978409"/>
          <a:ext cx="8009802" cy="5357277"/>
        </p:xfrm>
        <a:graphic>
          <a:graphicData uri="http://schemas.openxmlformats.org/drawingml/2006/table">
            <a:tbl>
              <a:tblPr/>
              <a:tblGrid>
                <a:gridCol w="4004901"/>
                <a:gridCol w="4004901"/>
              </a:tblGrid>
              <a:tr h="993494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 err="1">
                          <a:effectLst/>
                        </a:rPr>
                        <a:t>RouterLink</a:t>
                      </a:r>
                      <a:endParaRPr lang="en-US" sz="1200" b="0" dirty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>
                          <a:effectLst/>
                        </a:rPr>
                        <a:t>The directive for binding a clickable HTML element to a route. Clicking an element with a routerLinkdirective that is bound to a </a:t>
                      </a:r>
                      <a:r>
                        <a:rPr lang="en-US" sz="1200" b="0" i="1">
                          <a:effectLst/>
                        </a:rPr>
                        <a:t>string</a:t>
                      </a:r>
                      <a:r>
                        <a:rPr lang="en-US" sz="1200" b="0">
                          <a:effectLst/>
                        </a:rPr>
                        <a:t> or a </a:t>
                      </a:r>
                      <a:r>
                        <a:rPr lang="en-US" sz="1200" b="0" i="1">
                          <a:effectLst/>
                        </a:rPr>
                        <a:t>link parameters array</a:t>
                      </a:r>
                      <a:r>
                        <a:rPr lang="en-US" sz="1200" b="0">
                          <a:effectLst/>
                        </a:rPr>
                        <a:t> triggers a navigation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2757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 err="1">
                          <a:effectLst/>
                        </a:rPr>
                        <a:t>RouterLinkActive</a:t>
                      </a:r>
                      <a:endParaRPr lang="en-US" sz="1200" b="0" dirty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>
                          <a:effectLst/>
                        </a:rPr>
                        <a:t>The directive for adding/removing classes from an HTML element when an associated routerLinkcontained on or inside the element becomes active/inactive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993494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 err="1">
                          <a:effectLst/>
                        </a:rPr>
                        <a:t>ActivatedRoute</a:t>
                      </a:r>
                      <a:endParaRPr lang="en-US" sz="1200" b="0" dirty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>
                          <a:effectLst/>
                        </a:rPr>
                        <a:t>A service that is provided to each route component that contains route specific information such as route parameters, static data, resolve data, global query </a:t>
                      </a:r>
                      <a:r>
                        <a:rPr lang="en-US" sz="1200" b="0" dirty="0" err="1">
                          <a:effectLst/>
                        </a:rPr>
                        <a:t>params</a:t>
                      </a:r>
                      <a:r>
                        <a:rPr lang="en-US" sz="1200" b="0" dirty="0">
                          <a:effectLst/>
                        </a:rPr>
                        <a:t>, and the global fragment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2757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>
                          <a:effectLst/>
                        </a:rPr>
                        <a:t>RouterState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>
                          <a:effectLst/>
                        </a:rPr>
                        <a:t>The current state of the router including a tree of the currently activated routes together with convenience methods for traversing the route tree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3752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1">
                          <a:effectLst/>
                        </a:rPr>
                        <a:t>Link parameters array</a:t>
                      </a:r>
                      <a:endParaRPr lang="en-US" sz="1200" b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>
                          <a:effectLst/>
                        </a:rPr>
                        <a:t>An array that the router interprets as a routing instruction. You can bind that array to a </a:t>
                      </a:r>
                      <a:r>
                        <a:rPr lang="en-US" sz="1200" b="0" dirty="0" err="1">
                          <a:effectLst/>
                        </a:rPr>
                        <a:t>RouterLink</a:t>
                      </a:r>
                      <a:r>
                        <a:rPr lang="en-US" sz="1200" b="0" dirty="0">
                          <a:effectLst/>
                        </a:rPr>
                        <a:t> or pass the array as an argument to the </a:t>
                      </a:r>
                      <a:r>
                        <a:rPr lang="en-US" sz="1200" b="0" dirty="0" err="1">
                          <a:effectLst/>
                        </a:rPr>
                        <a:t>Router.navigate</a:t>
                      </a:r>
                      <a:r>
                        <a:rPr lang="en-US" sz="1200" b="0" dirty="0">
                          <a:effectLst/>
                        </a:rPr>
                        <a:t> method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6164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1">
                          <a:effectLst/>
                        </a:rPr>
                        <a:t>Routing component</a:t>
                      </a:r>
                      <a:endParaRPr lang="en-US" sz="1200" b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>
                          <a:effectLst/>
                        </a:rPr>
                        <a:t>An Angular component with a </a:t>
                      </a:r>
                      <a:r>
                        <a:rPr lang="en-US" sz="1200" b="0" dirty="0" err="1">
                          <a:effectLst/>
                        </a:rPr>
                        <a:t>RouterOutlet</a:t>
                      </a:r>
                      <a:r>
                        <a:rPr lang="en-US" sz="1200" b="0" dirty="0">
                          <a:effectLst/>
                        </a:rPr>
                        <a:t> that displays views based on router navigations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954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o define routes for </a:t>
            </a:r>
            <a:r>
              <a:rPr lang="en-US" sz="2000" dirty="0" smtClean="0"/>
              <a:t>application</a:t>
            </a:r>
            <a:r>
              <a:rPr lang="en-US" sz="2000" dirty="0"/>
              <a:t>, create a Routes configuration and then use </a:t>
            </a:r>
            <a:r>
              <a:rPr lang="en-US" sz="2000" dirty="0" err="1" smtClean="0"/>
              <a:t>RouterModule.forRoot</a:t>
            </a:r>
            <a:r>
              <a:rPr lang="en-US" sz="2000" dirty="0" smtClean="0"/>
              <a:t>(routes</a:t>
            </a:r>
            <a:r>
              <a:rPr lang="en-US" sz="2000" dirty="0"/>
              <a:t>) to provide </a:t>
            </a:r>
            <a:r>
              <a:rPr lang="en-US" sz="2000" dirty="0" smtClean="0"/>
              <a:t>application </a:t>
            </a:r>
            <a:r>
              <a:rPr lang="en-US" sz="2000" dirty="0"/>
              <a:t>with the dependencies necessary to use the </a:t>
            </a:r>
            <a:r>
              <a:rPr lang="en-US" sz="2000" dirty="0" smtClean="0"/>
              <a:t>router.</a:t>
            </a:r>
          </a:p>
          <a:p>
            <a:pPr lvl="2" algn="just">
              <a:lnSpc>
                <a:spcPct val="150000"/>
              </a:lnSpc>
            </a:pPr>
            <a:r>
              <a:rPr lang="en-US" sz="1400" dirty="0" smtClean="0"/>
              <a:t>path specifies the URL this route will handle</a:t>
            </a:r>
          </a:p>
          <a:p>
            <a:pPr lvl="2" algn="just">
              <a:lnSpc>
                <a:spcPct val="150000"/>
              </a:lnSpc>
            </a:pPr>
            <a:r>
              <a:rPr lang="en-US" sz="1400" dirty="0" smtClean="0"/>
              <a:t>component maps to the Component and its template</a:t>
            </a:r>
          </a:p>
          <a:p>
            <a:pPr lvl="2" algn="just">
              <a:lnSpc>
                <a:spcPct val="150000"/>
              </a:lnSpc>
            </a:pPr>
            <a:r>
              <a:rPr lang="en-US" sz="1400" dirty="0" smtClean="0"/>
              <a:t>optional </a:t>
            </a:r>
            <a:r>
              <a:rPr lang="en-US" sz="1400" dirty="0" err="1" smtClean="0"/>
              <a:t>redirectTo</a:t>
            </a:r>
            <a:r>
              <a:rPr lang="en-US" sz="1400" dirty="0" smtClean="0"/>
              <a:t> is used to redirect a given path to an existing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22739" y="4314092"/>
            <a:ext cx="8464061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err="1">
                <a:solidFill>
                  <a:srgbClr val="000000"/>
                </a:solidFill>
              </a:rPr>
              <a:t>const</a:t>
            </a:r>
            <a:r>
              <a:rPr lang="en-US" sz="1600" dirty="0">
                <a:solidFill>
                  <a:srgbClr val="000000"/>
                </a:solidFill>
              </a:rPr>
              <a:t> routes: Routes = [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', </a:t>
            </a:r>
            <a:r>
              <a:rPr lang="en-US" sz="1600" dirty="0" err="1">
                <a:solidFill>
                  <a:srgbClr val="000000"/>
                </a:solidFill>
              </a:rPr>
              <a:t>redirectTo</a:t>
            </a:r>
            <a:r>
              <a:rPr lang="en-US" sz="1600" dirty="0">
                <a:solidFill>
                  <a:srgbClr val="000000"/>
                </a:solidFill>
              </a:rPr>
              <a:t>: 'home', </a:t>
            </a:r>
            <a:r>
              <a:rPr lang="en-US" sz="1600" dirty="0" err="1">
                <a:solidFill>
                  <a:srgbClr val="000000"/>
                </a:solidFill>
              </a:rPr>
              <a:t>pathMatch</a:t>
            </a:r>
            <a:r>
              <a:rPr lang="en-US" sz="1600" dirty="0">
                <a:solidFill>
                  <a:srgbClr val="000000"/>
                </a:solidFill>
              </a:rPr>
              <a:t>: 'full'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home', component: </a:t>
            </a:r>
            <a:r>
              <a:rPr lang="en-US" sz="1600" dirty="0" err="1">
                <a:solidFill>
                  <a:srgbClr val="000000"/>
                </a:solidFill>
              </a:rPr>
              <a:t>Home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about', component: </a:t>
            </a:r>
            <a:r>
              <a:rPr lang="en-US" sz="1600" dirty="0" err="1">
                <a:solidFill>
                  <a:srgbClr val="000000"/>
                </a:solidFill>
              </a:rPr>
              <a:t>About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contact', component: </a:t>
            </a:r>
            <a:r>
              <a:rPr lang="en-US" sz="1600" dirty="0" err="1">
                <a:solidFill>
                  <a:srgbClr val="000000"/>
                </a:solidFill>
              </a:rPr>
              <a:t>Contact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</a:t>
            </a:r>
            <a:r>
              <a:rPr lang="en-US" sz="1600" dirty="0" err="1">
                <a:solidFill>
                  <a:srgbClr val="000000"/>
                </a:solidFill>
              </a:rPr>
              <a:t>contactus</a:t>
            </a:r>
            <a:r>
              <a:rPr lang="en-US" sz="1600" dirty="0">
                <a:solidFill>
                  <a:srgbClr val="000000"/>
                </a:solidFill>
              </a:rPr>
              <a:t>', </a:t>
            </a:r>
            <a:r>
              <a:rPr lang="en-US" sz="1600" dirty="0" err="1">
                <a:solidFill>
                  <a:srgbClr val="000000"/>
                </a:solidFill>
              </a:rPr>
              <a:t>redirectTo</a:t>
            </a:r>
            <a:r>
              <a:rPr lang="en-US" sz="1600" dirty="0">
                <a:solidFill>
                  <a:srgbClr val="000000"/>
                </a:solidFill>
              </a:rPr>
              <a:t>: 'contact' },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;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Props1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52a6df7-b138-4f89-9bc4-e7a874ea3254"/>
    <ds:schemaRef ds:uri="http://purl.org/dc/terms/"/>
    <ds:schemaRef ds:uri="http://schemas.openxmlformats.org/package/2006/metadata/core-properties"/>
    <ds:schemaRef ds:uri="a85eb2a3-840f-4054-86f6-d41d0c1cba4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85</TotalTime>
  <Words>1429</Words>
  <Application>Microsoft Office PowerPoint</Application>
  <PresentationFormat>On-screen Show (4:3)</PresentationFormat>
  <Paragraphs>197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onsolas</vt:lpstr>
      <vt:lpstr>Verdana</vt:lpstr>
      <vt:lpstr>Wingdings</vt:lpstr>
      <vt:lpstr>Section slides</vt:lpstr>
      <vt:lpstr>think-cell Slide</vt:lpstr>
      <vt:lpstr>Routing</vt:lpstr>
      <vt:lpstr>Lesson Objectives</vt:lpstr>
      <vt:lpstr>Routing</vt:lpstr>
      <vt:lpstr>AngularJS Routes</vt:lpstr>
      <vt:lpstr>Routing Setup</vt:lpstr>
      <vt:lpstr>Components of Angular 2 routing</vt:lpstr>
      <vt:lpstr>Router </vt:lpstr>
      <vt:lpstr>Router</vt:lpstr>
      <vt:lpstr>Routes</vt:lpstr>
      <vt:lpstr>RouterOutlet</vt:lpstr>
      <vt:lpstr>RouterLink</vt:lpstr>
      <vt:lpstr>RouterOutlet &amp; RouterLink</vt:lpstr>
      <vt:lpstr>Routing Strategies</vt:lpstr>
      <vt:lpstr>Route Parameters</vt:lpstr>
      <vt:lpstr>ActivatedRoute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930</cp:revision>
  <cp:lastPrinted>2016-10-16T23:19:34Z</cp:lastPrinted>
  <dcterms:created xsi:type="dcterms:W3CDTF">2012-05-18T02:59:15Z</dcterms:created>
  <dcterms:modified xsi:type="dcterms:W3CDTF">2018-03-15T04:5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